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6" r:id="rId2"/>
    <p:sldId id="257" r:id="rId3"/>
  </p:sldIdLst>
  <p:sldSz cx="3657600" cy="914400"/>
  <p:notesSz cx="6858000" cy="9144000"/>
  <p:custDataLst>
    <p:tags r:id="rId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325" d="100"/>
          <a:sy n="325" d="100"/>
        </p:scale>
        <p:origin x="197" y="88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9648"/>
            <a:ext cx="2743200" cy="318347"/>
          </a:xfrm>
        </p:spPr>
        <p:txBody>
          <a:bodyPr anchor="b"/>
          <a:lstStyle>
            <a:lvl1pPr algn="ctr">
              <a:defRPr sz="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480272"/>
            <a:ext cx="2743200" cy="220768"/>
          </a:xfrm>
        </p:spPr>
        <p:txBody>
          <a:bodyPr/>
          <a:lstStyle>
            <a:lvl1pPr marL="0" indent="0" algn="ctr">
              <a:buNone/>
              <a:defRPr sz="320"/>
            </a:lvl1pPr>
            <a:lvl2pPr marL="60945" indent="0" algn="ctr">
              <a:buNone/>
              <a:defRPr sz="267"/>
            </a:lvl2pPr>
            <a:lvl3pPr marL="121890" indent="0" algn="ctr">
              <a:buNone/>
              <a:defRPr sz="240"/>
            </a:lvl3pPr>
            <a:lvl4pPr marL="182834" indent="0" algn="ctr">
              <a:buNone/>
              <a:defRPr sz="213"/>
            </a:lvl4pPr>
            <a:lvl5pPr marL="243779" indent="0" algn="ctr">
              <a:buNone/>
              <a:defRPr sz="213"/>
            </a:lvl5pPr>
            <a:lvl6pPr marL="304724" indent="0" algn="ctr">
              <a:buNone/>
              <a:defRPr sz="213"/>
            </a:lvl6pPr>
            <a:lvl7pPr marL="365669" indent="0" algn="ctr">
              <a:buNone/>
              <a:defRPr sz="213"/>
            </a:lvl7pPr>
            <a:lvl8pPr marL="426613" indent="0" algn="ctr">
              <a:buNone/>
              <a:defRPr sz="213"/>
            </a:lvl8pPr>
            <a:lvl9pPr marL="487558" indent="0" algn="ctr">
              <a:buNone/>
              <a:defRPr sz="213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9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9033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9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8041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617470" y="48683"/>
            <a:ext cx="788670" cy="774912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1460" y="48683"/>
            <a:ext cx="2320290" cy="77491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9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97590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53246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9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27775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555" y="227965"/>
            <a:ext cx="3154680" cy="380365"/>
          </a:xfr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555" y="611928"/>
            <a:ext cx="3154680" cy="200025"/>
          </a:xfrm>
        </p:spPr>
        <p:txBody>
          <a:bodyPr/>
          <a:lstStyle>
            <a:lvl1pPr marL="0" indent="0">
              <a:buNone/>
              <a:defRPr sz="320">
                <a:solidFill>
                  <a:schemeClr val="tx1">
                    <a:tint val="75000"/>
                  </a:schemeClr>
                </a:solidFill>
              </a:defRPr>
            </a:lvl1pPr>
            <a:lvl2pPr marL="60945" indent="0">
              <a:buNone/>
              <a:defRPr sz="267">
                <a:solidFill>
                  <a:schemeClr val="tx1">
                    <a:tint val="75000"/>
                  </a:schemeClr>
                </a:solidFill>
              </a:defRPr>
            </a:lvl2pPr>
            <a:lvl3pPr marL="121890" indent="0">
              <a:buNone/>
              <a:defRPr sz="240">
                <a:solidFill>
                  <a:schemeClr val="tx1">
                    <a:tint val="75000"/>
                  </a:schemeClr>
                </a:solidFill>
              </a:defRPr>
            </a:lvl3pPr>
            <a:lvl4pPr marL="182834" indent="0">
              <a:buNone/>
              <a:defRPr sz="213">
                <a:solidFill>
                  <a:schemeClr val="tx1">
                    <a:tint val="75000"/>
                  </a:schemeClr>
                </a:solidFill>
              </a:defRPr>
            </a:lvl4pPr>
            <a:lvl5pPr marL="243779" indent="0">
              <a:buNone/>
              <a:defRPr sz="213">
                <a:solidFill>
                  <a:schemeClr val="tx1">
                    <a:tint val="75000"/>
                  </a:schemeClr>
                </a:solidFill>
              </a:defRPr>
            </a:lvl5pPr>
            <a:lvl6pPr marL="304724" indent="0">
              <a:buNone/>
              <a:defRPr sz="213">
                <a:solidFill>
                  <a:schemeClr val="tx1">
                    <a:tint val="75000"/>
                  </a:schemeClr>
                </a:solidFill>
              </a:defRPr>
            </a:lvl6pPr>
            <a:lvl7pPr marL="365669" indent="0">
              <a:buNone/>
              <a:defRPr sz="213">
                <a:solidFill>
                  <a:schemeClr val="tx1">
                    <a:tint val="75000"/>
                  </a:schemeClr>
                </a:solidFill>
              </a:defRPr>
            </a:lvl7pPr>
            <a:lvl8pPr marL="426613" indent="0">
              <a:buNone/>
              <a:defRPr sz="213">
                <a:solidFill>
                  <a:schemeClr val="tx1">
                    <a:tint val="75000"/>
                  </a:schemeClr>
                </a:solidFill>
              </a:defRPr>
            </a:lvl8pPr>
            <a:lvl9pPr marL="487558" indent="0">
              <a:buNone/>
              <a:defRPr sz="21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9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2636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1460" y="243417"/>
            <a:ext cx="1554480" cy="5801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51660" y="243417"/>
            <a:ext cx="1554480" cy="5801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9/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0696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936" y="48683"/>
            <a:ext cx="3154680" cy="17674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1937" y="224155"/>
            <a:ext cx="1547336" cy="109855"/>
          </a:xfrm>
        </p:spPr>
        <p:txBody>
          <a:bodyPr anchor="b"/>
          <a:lstStyle>
            <a:lvl1pPr marL="0" indent="0">
              <a:buNone/>
              <a:defRPr sz="320" b="1"/>
            </a:lvl1pPr>
            <a:lvl2pPr marL="60945" indent="0">
              <a:buNone/>
              <a:defRPr sz="267" b="1"/>
            </a:lvl2pPr>
            <a:lvl3pPr marL="121890" indent="0">
              <a:buNone/>
              <a:defRPr sz="240" b="1"/>
            </a:lvl3pPr>
            <a:lvl4pPr marL="182834" indent="0">
              <a:buNone/>
              <a:defRPr sz="213" b="1"/>
            </a:lvl4pPr>
            <a:lvl5pPr marL="243779" indent="0">
              <a:buNone/>
              <a:defRPr sz="213" b="1"/>
            </a:lvl5pPr>
            <a:lvl6pPr marL="304724" indent="0">
              <a:buNone/>
              <a:defRPr sz="213" b="1"/>
            </a:lvl6pPr>
            <a:lvl7pPr marL="365669" indent="0">
              <a:buNone/>
              <a:defRPr sz="213" b="1"/>
            </a:lvl7pPr>
            <a:lvl8pPr marL="426613" indent="0">
              <a:buNone/>
              <a:defRPr sz="213" b="1"/>
            </a:lvl8pPr>
            <a:lvl9pPr marL="487558" indent="0">
              <a:buNone/>
              <a:defRPr sz="21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1937" y="334010"/>
            <a:ext cx="1547336" cy="4912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851660" y="224155"/>
            <a:ext cx="1554956" cy="109855"/>
          </a:xfrm>
        </p:spPr>
        <p:txBody>
          <a:bodyPr anchor="b"/>
          <a:lstStyle>
            <a:lvl1pPr marL="0" indent="0">
              <a:buNone/>
              <a:defRPr sz="320" b="1"/>
            </a:lvl1pPr>
            <a:lvl2pPr marL="60945" indent="0">
              <a:buNone/>
              <a:defRPr sz="267" b="1"/>
            </a:lvl2pPr>
            <a:lvl3pPr marL="121890" indent="0">
              <a:buNone/>
              <a:defRPr sz="240" b="1"/>
            </a:lvl3pPr>
            <a:lvl4pPr marL="182834" indent="0">
              <a:buNone/>
              <a:defRPr sz="213" b="1"/>
            </a:lvl4pPr>
            <a:lvl5pPr marL="243779" indent="0">
              <a:buNone/>
              <a:defRPr sz="213" b="1"/>
            </a:lvl5pPr>
            <a:lvl6pPr marL="304724" indent="0">
              <a:buNone/>
              <a:defRPr sz="213" b="1"/>
            </a:lvl6pPr>
            <a:lvl7pPr marL="365669" indent="0">
              <a:buNone/>
              <a:defRPr sz="213" b="1"/>
            </a:lvl7pPr>
            <a:lvl8pPr marL="426613" indent="0">
              <a:buNone/>
              <a:defRPr sz="213" b="1"/>
            </a:lvl8pPr>
            <a:lvl9pPr marL="487558" indent="0">
              <a:buNone/>
              <a:defRPr sz="21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851660" y="334010"/>
            <a:ext cx="1554956" cy="4912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9/9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976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9/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99049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9/9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0113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937" y="60960"/>
            <a:ext cx="1179671" cy="213360"/>
          </a:xfrm>
        </p:spPr>
        <p:txBody>
          <a:bodyPr anchor="b"/>
          <a:lstStyle>
            <a:lvl1pPr>
              <a:defRPr sz="42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54956" y="131657"/>
            <a:ext cx="1851660" cy="649817"/>
          </a:xfrm>
        </p:spPr>
        <p:txBody>
          <a:bodyPr/>
          <a:lstStyle>
            <a:lvl1pPr>
              <a:defRPr sz="427"/>
            </a:lvl1pPr>
            <a:lvl2pPr>
              <a:defRPr sz="373"/>
            </a:lvl2pPr>
            <a:lvl3pPr>
              <a:defRPr sz="320"/>
            </a:lvl3pPr>
            <a:lvl4pPr>
              <a:defRPr sz="267"/>
            </a:lvl4pPr>
            <a:lvl5pPr>
              <a:defRPr sz="267"/>
            </a:lvl5pPr>
            <a:lvl6pPr>
              <a:defRPr sz="267"/>
            </a:lvl6pPr>
            <a:lvl7pPr>
              <a:defRPr sz="267"/>
            </a:lvl7pPr>
            <a:lvl8pPr>
              <a:defRPr sz="267"/>
            </a:lvl8pPr>
            <a:lvl9pPr>
              <a:defRPr sz="2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1937" y="274320"/>
            <a:ext cx="1179671" cy="508212"/>
          </a:xfrm>
        </p:spPr>
        <p:txBody>
          <a:bodyPr/>
          <a:lstStyle>
            <a:lvl1pPr marL="0" indent="0">
              <a:buNone/>
              <a:defRPr sz="213"/>
            </a:lvl1pPr>
            <a:lvl2pPr marL="60945" indent="0">
              <a:buNone/>
              <a:defRPr sz="187"/>
            </a:lvl2pPr>
            <a:lvl3pPr marL="121890" indent="0">
              <a:buNone/>
              <a:defRPr sz="160"/>
            </a:lvl3pPr>
            <a:lvl4pPr marL="182834" indent="0">
              <a:buNone/>
              <a:defRPr sz="133"/>
            </a:lvl4pPr>
            <a:lvl5pPr marL="243779" indent="0">
              <a:buNone/>
              <a:defRPr sz="133"/>
            </a:lvl5pPr>
            <a:lvl6pPr marL="304724" indent="0">
              <a:buNone/>
              <a:defRPr sz="133"/>
            </a:lvl6pPr>
            <a:lvl7pPr marL="365669" indent="0">
              <a:buNone/>
              <a:defRPr sz="133"/>
            </a:lvl7pPr>
            <a:lvl8pPr marL="426613" indent="0">
              <a:buNone/>
              <a:defRPr sz="133"/>
            </a:lvl8pPr>
            <a:lvl9pPr marL="487558" indent="0">
              <a:buNone/>
              <a:defRPr sz="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9/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420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937" y="60960"/>
            <a:ext cx="1179671" cy="213360"/>
          </a:xfrm>
        </p:spPr>
        <p:txBody>
          <a:bodyPr anchor="b"/>
          <a:lstStyle>
            <a:lvl1pPr>
              <a:defRPr sz="42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54956" y="131657"/>
            <a:ext cx="1851660" cy="649817"/>
          </a:xfrm>
        </p:spPr>
        <p:txBody>
          <a:bodyPr anchor="t"/>
          <a:lstStyle>
            <a:lvl1pPr marL="0" indent="0">
              <a:buNone/>
              <a:defRPr sz="427"/>
            </a:lvl1pPr>
            <a:lvl2pPr marL="60945" indent="0">
              <a:buNone/>
              <a:defRPr sz="373"/>
            </a:lvl2pPr>
            <a:lvl3pPr marL="121890" indent="0">
              <a:buNone/>
              <a:defRPr sz="320"/>
            </a:lvl3pPr>
            <a:lvl4pPr marL="182834" indent="0">
              <a:buNone/>
              <a:defRPr sz="267"/>
            </a:lvl4pPr>
            <a:lvl5pPr marL="243779" indent="0">
              <a:buNone/>
              <a:defRPr sz="267"/>
            </a:lvl5pPr>
            <a:lvl6pPr marL="304724" indent="0">
              <a:buNone/>
              <a:defRPr sz="267"/>
            </a:lvl6pPr>
            <a:lvl7pPr marL="365669" indent="0">
              <a:buNone/>
              <a:defRPr sz="267"/>
            </a:lvl7pPr>
            <a:lvl8pPr marL="426613" indent="0">
              <a:buNone/>
              <a:defRPr sz="267"/>
            </a:lvl8pPr>
            <a:lvl9pPr marL="487558" indent="0">
              <a:buNone/>
              <a:defRPr sz="267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1937" y="274320"/>
            <a:ext cx="1179671" cy="508212"/>
          </a:xfrm>
        </p:spPr>
        <p:txBody>
          <a:bodyPr/>
          <a:lstStyle>
            <a:lvl1pPr marL="0" indent="0">
              <a:buNone/>
              <a:defRPr sz="213"/>
            </a:lvl1pPr>
            <a:lvl2pPr marL="60945" indent="0">
              <a:buNone/>
              <a:defRPr sz="187"/>
            </a:lvl2pPr>
            <a:lvl3pPr marL="121890" indent="0">
              <a:buNone/>
              <a:defRPr sz="160"/>
            </a:lvl3pPr>
            <a:lvl4pPr marL="182834" indent="0">
              <a:buNone/>
              <a:defRPr sz="133"/>
            </a:lvl4pPr>
            <a:lvl5pPr marL="243779" indent="0">
              <a:buNone/>
              <a:defRPr sz="133"/>
            </a:lvl5pPr>
            <a:lvl6pPr marL="304724" indent="0">
              <a:buNone/>
              <a:defRPr sz="133"/>
            </a:lvl6pPr>
            <a:lvl7pPr marL="365669" indent="0">
              <a:buNone/>
              <a:defRPr sz="133"/>
            </a:lvl7pPr>
            <a:lvl8pPr marL="426613" indent="0">
              <a:buNone/>
              <a:defRPr sz="133"/>
            </a:lvl8pPr>
            <a:lvl9pPr marL="487558" indent="0">
              <a:buNone/>
              <a:defRPr sz="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9/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254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1460" y="48683"/>
            <a:ext cx="3154680" cy="17674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1460" y="243417"/>
            <a:ext cx="3154680" cy="5801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51460" y="847514"/>
            <a:ext cx="822960" cy="486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2BC529-1D76-442C-A947-E37B943CFD8C}" type="datetimeFigureOut">
              <a:rPr lang="en-US" smtClean="0"/>
              <a:t>9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11580" y="847514"/>
            <a:ext cx="1234440" cy="486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83180" y="847514"/>
            <a:ext cx="822960" cy="486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614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xStyles>
    <p:titleStyle>
      <a:lvl1pPr algn="l" defTabSz="121890" rtl="0" eaLnBrk="1" latinLnBrk="0" hangingPunct="1">
        <a:lnSpc>
          <a:spcPct val="90000"/>
        </a:lnSpc>
        <a:spcBef>
          <a:spcPct val="0"/>
        </a:spcBef>
        <a:buNone/>
        <a:defRPr sz="58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2" indent="-30472" algn="l" defTabSz="121890" rtl="0" eaLnBrk="1" latinLnBrk="0" hangingPunct="1">
        <a:lnSpc>
          <a:spcPct val="90000"/>
        </a:lnSpc>
        <a:spcBef>
          <a:spcPts val="133"/>
        </a:spcBef>
        <a:buFont typeface="Arial" panose="020B0604020202020204" pitchFamily="34" charset="0"/>
        <a:buChar char="•"/>
        <a:defRPr sz="373" kern="1200">
          <a:solidFill>
            <a:schemeClr val="tx1"/>
          </a:solidFill>
          <a:latin typeface="+mn-lt"/>
          <a:ea typeface="+mn-ea"/>
          <a:cs typeface="+mn-cs"/>
        </a:defRPr>
      </a:lvl1pPr>
      <a:lvl2pPr marL="91417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320" kern="1200">
          <a:solidFill>
            <a:schemeClr val="tx1"/>
          </a:solidFill>
          <a:latin typeface="+mn-lt"/>
          <a:ea typeface="+mn-ea"/>
          <a:cs typeface="+mn-cs"/>
        </a:defRPr>
      </a:lvl2pPr>
      <a:lvl3pPr marL="152362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2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07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240" kern="1200">
          <a:solidFill>
            <a:schemeClr val="tx1"/>
          </a:solidFill>
          <a:latin typeface="+mn-lt"/>
          <a:ea typeface="+mn-ea"/>
          <a:cs typeface="+mn-cs"/>
        </a:defRPr>
      </a:lvl4pPr>
      <a:lvl5pPr marL="274251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240" kern="1200">
          <a:solidFill>
            <a:schemeClr val="tx1"/>
          </a:solidFill>
          <a:latin typeface="+mn-lt"/>
          <a:ea typeface="+mn-ea"/>
          <a:cs typeface="+mn-cs"/>
        </a:defRPr>
      </a:lvl5pPr>
      <a:lvl6pPr marL="335196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240" kern="1200">
          <a:solidFill>
            <a:schemeClr val="tx1"/>
          </a:solidFill>
          <a:latin typeface="+mn-lt"/>
          <a:ea typeface="+mn-ea"/>
          <a:cs typeface="+mn-cs"/>
        </a:defRPr>
      </a:lvl6pPr>
      <a:lvl7pPr marL="396141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240" kern="1200">
          <a:solidFill>
            <a:schemeClr val="tx1"/>
          </a:solidFill>
          <a:latin typeface="+mn-lt"/>
          <a:ea typeface="+mn-ea"/>
          <a:cs typeface="+mn-cs"/>
        </a:defRPr>
      </a:lvl7pPr>
      <a:lvl8pPr marL="457086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240" kern="1200">
          <a:solidFill>
            <a:schemeClr val="tx1"/>
          </a:solidFill>
          <a:latin typeface="+mn-lt"/>
          <a:ea typeface="+mn-ea"/>
          <a:cs typeface="+mn-cs"/>
        </a:defRPr>
      </a:lvl8pPr>
      <a:lvl9pPr marL="518030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2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1pPr>
      <a:lvl2pPr marL="60945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0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5pPr>
      <a:lvl6pPr marL="304724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6pPr>
      <a:lvl7pPr marL="365669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be 3">
            <a:extLst>
              <a:ext uri="{FF2B5EF4-FFF2-40B4-BE49-F238E27FC236}">
                <a16:creationId xmlns:a16="http://schemas.microsoft.com/office/drawing/2014/main" id="{5BB7B34D-9441-35A9-5694-8E76D86E6A10}"/>
              </a:ext>
            </a:extLst>
          </p:cNvPr>
          <p:cNvSpPr/>
          <p:nvPr/>
        </p:nvSpPr>
        <p:spPr>
          <a:xfrm>
            <a:off x="186290" y="408972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Cube 4">
            <a:extLst>
              <a:ext uri="{FF2B5EF4-FFF2-40B4-BE49-F238E27FC236}">
                <a16:creationId xmlns:a16="http://schemas.microsoft.com/office/drawing/2014/main" id="{AF3E613E-D7C7-6F2B-2EFA-A3EE8E5ECFE7}"/>
              </a:ext>
            </a:extLst>
          </p:cNvPr>
          <p:cNvSpPr/>
          <p:nvPr/>
        </p:nvSpPr>
        <p:spPr>
          <a:xfrm>
            <a:off x="506330" y="408972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Cube 5">
            <a:extLst>
              <a:ext uri="{FF2B5EF4-FFF2-40B4-BE49-F238E27FC236}">
                <a16:creationId xmlns:a16="http://schemas.microsoft.com/office/drawing/2014/main" id="{7525B701-03FB-2F1F-75F8-90B7D638259B}"/>
              </a:ext>
            </a:extLst>
          </p:cNvPr>
          <p:cNvSpPr/>
          <p:nvPr/>
        </p:nvSpPr>
        <p:spPr>
          <a:xfrm>
            <a:off x="82658" y="512604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ube 6">
            <a:extLst>
              <a:ext uri="{FF2B5EF4-FFF2-40B4-BE49-F238E27FC236}">
                <a16:creationId xmlns:a16="http://schemas.microsoft.com/office/drawing/2014/main" id="{F937C649-C169-0FCE-5D24-FB355CB72ED5}"/>
              </a:ext>
            </a:extLst>
          </p:cNvPr>
          <p:cNvSpPr/>
          <p:nvPr/>
        </p:nvSpPr>
        <p:spPr>
          <a:xfrm>
            <a:off x="399650" y="512604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ube 7">
            <a:extLst>
              <a:ext uri="{FF2B5EF4-FFF2-40B4-BE49-F238E27FC236}">
                <a16:creationId xmlns:a16="http://schemas.microsoft.com/office/drawing/2014/main" id="{8A0DC529-A154-44EC-4DC8-792D32B73E2C}"/>
              </a:ext>
            </a:extLst>
          </p:cNvPr>
          <p:cNvSpPr/>
          <p:nvPr/>
        </p:nvSpPr>
        <p:spPr>
          <a:xfrm>
            <a:off x="186290" y="124746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Cube 8">
            <a:extLst>
              <a:ext uri="{FF2B5EF4-FFF2-40B4-BE49-F238E27FC236}">
                <a16:creationId xmlns:a16="http://schemas.microsoft.com/office/drawing/2014/main" id="{12BA937B-792D-E6ED-D18A-557D03DB02BE}"/>
              </a:ext>
            </a:extLst>
          </p:cNvPr>
          <p:cNvSpPr/>
          <p:nvPr/>
        </p:nvSpPr>
        <p:spPr>
          <a:xfrm>
            <a:off x="506330" y="124746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ube 9">
            <a:extLst>
              <a:ext uri="{FF2B5EF4-FFF2-40B4-BE49-F238E27FC236}">
                <a16:creationId xmlns:a16="http://schemas.microsoft.com/office/drawing/2014/main" id="{8F53C74C-AD93-F0F2-E83C-103D7F57F347}"/>
              </a:ext>
            </a:extLst>
          </p:cNvPr>
          <p:cNvSpPr/>
          <p:nvPr/>
        </p:nvSpPr>
        <p:spPr>
          <a:xfrm>
            <a:off x="82658" y="228378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Cube 10">
            <a:extLst>
              <a:ext uri="{FF2B5EF4-FFF2-40B4-BE49-F238E27FC236}">
                <a16:creationId xmlns:a16="http://schemas.microsoft.com/office/drawing/2014/main" id="{A25E78F1-034D-8474-746D-CA6F05719A30}"/>
              </a:ext>
            </a:extLst>
          </p:cNvPr>
          <p:cNvSpPr/>
          <p:nvPr/>
        </p:nvSpPr>
        <p:spPr>
          <a:xfrm>
            <a:off x="399650" y="228378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19F1F6A-AA36-4527-64C7-1DE853585373}"/>
              </a:ext>
            </a:extLst>
          </p:cNvPr>
          <p:cNvSpPr txBox="1"/>
          <p:nvPr/>
        </p:nvSpPr>
        <p:spPr>
          <a:xfrm>
            <a:off x="884961" y="124746"/>
            <a:ext cx="270818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chemeClr val="accent1">
                    <a:lumMod val="75000"/>
                  </a:schemeClr>
                </a:solidFill>
                <a:latin typeface="Cascadia Code" panose="020B0609020000020004" pitchFamily="49" charset="0"/>
                <a:ea typeface="Kigelia Light" panose="020B0502040204020203" pitchFamily="34" charset="0"/>
                <a:cs typeface="Cascadia Code" panose="020B0609020000020004" pitchFamily="49" charset="0"/>
              </a:rPr>
              <a:t>ReservoirFlow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750554-DCDB-AF7D-F532-35E85A4B16A8}"/>
              </a:ext>
            </a:extLst>
          </p:cNvPr>
          <p:cNvSpPr/>
          <p:nvPr/>
        </p:nvSpPr>
        <p:spPr>
          <a:xfrm>
            <a:off x="869804" y="124747"/>
            <a:ext cx="2095500" cy="5858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BCD81B2-4AAD-DC31-BBB1-E53EF6CE5333}"/>
              </a:ext>
            </a:extLst>
          </p:cNvPr>
          <p:cNvSpPr/>
          <p:nvPr/>
        </p:nvSpPr>
        <p:spPr>
          <a:xfrm>
            <a:off x="930001" y="538580"/>
            <a:ext cx="2618107" cy="4793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749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be 3">
            <a:extLst>
              <a:ext uri="{FF2B5EF4-FFF2-40B4-BE49-F238E27FC236}">
                <a16:creationId xmlns:a16="http://schemas.microsoft.com/office/drawing/2014/main" id="{5BB7B34D-9441-35A9-5694-8E76D86E6A10}"/>
              </a:ext>
            </a:extLst>
          </p:cNvPr>
          <p:cNvSpPr/>
          <p:nvPr/>
        </p:nvSpPr>
        <p:spPr>
          <a:xfrm>
            <a:off x="1410180" y="685637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Cube 4">
            <a:extLst>
              <a:ext uri="{FF2B5EF4-FFF2-40B4-BE49-F238E27FC236}">
                <a16:creationId xmlns:a16="http://schemas.microsoft.com/office/drawing/2014/main" id="{AF3E613E-D7C7-6F2B-2EFA-A3EE8E5ECFE7}"/>
              </a:ext>
            </a:extLst>
          </p:cNvPr>
          <p:cNvSpPr/>
          <p:nvPr/>
        </p:nvSpPr>
        <p:spPr>
          <a:xfrm>
            <a:off x="1730220" y="685637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Cube 5">
            <a:extLst>
              <a:ext uri="{FF2B5EF4-FFF2-40B4-BE49-F238E27FC236}">
                <a16:creationId xmlns:a16="http://schemas.microsoft.com/office/drawing/2014/main" id="{7525B701-03FB-2F1F-75F8-90B7D638259B}"/>
              </a:ext>
            </a:extLst>
          </p:cNvPr>
          <p:cNvSpPr/>
          <p:nvPr/>
        </p:nvSpPr>
        <p:spPr>
          <a:xfrm>
            <a:off x="1306548" y="789269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ube 6">
            <a:extLst>
              <a:ext uri="{FF2B5EF4-FFF2-40B4-BE49-F238E27FC236}">
                <a16:creationId xmlns:a16="http://schemas.microsoft.com/office/drawing/2014/main" id="{F937C649-C169-0FCE-5D24-FB355CB72ED5}"/>
              </a:ext>
            </a:extLst>
          </p:cNvPr>
          <p:cNvSpPr/>
          <p:nvPr/>
        </p:nvSpPr>
        <p:spPr>
          <a:xfrm>
            <a:off x="1623540" y="789269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ube 7">
            <a:extLst>
              <a:ext uri="{FF2B5EF4-FFF2-40B4-BE49-F238E27FC236}">
                <a16:creationId xmlns:a16="http://schemas.microsoft.com/office/drawing/2014/main" id="{8A0DC529-A154-44EC-4DC8-792D32B73E2C}"/>
              </a:ext>
            </a:extLst>
          </p:cNvPr>
          <p:cNvSpPr/>
          <p:nvPr/>
        </p:nvSpPr>
        <p:spPr>
          <a:xfrm>
            <a:off x="1410180" y="401411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Cube 8">
            <a:extLst>
              <a:ext uri="{FF2B5EF4-FFF2-40B4-BE49-F238E27FC236}">
                <a16:creationId xmlns:a16="http://schemas.microsoft.com/office/drawing/2014/main" id="{12BA937B-792D-E6ED-D18A-557D03DB02BE}"/>
              </a:ext>
            </a:extLst>
          </p:cNvPr>
          <p:cNvSpPr/>
          <p:nvPr/>
        </p:nvSpPr>
        <p:spPr>
          <a:xfrm>
            <a:off x="1730220" y="401411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ube 9">
            <a:extLst>
              <a:ext uri="{FF2B5EF4-FFF2-40B4-BE49-F238E27FC236}">
                <a16:creationId xmlns:a16="http://schemas.microsoft.com/office/drawing/2014/main" id="{8F53C74C-AD93-F0F2-E83C-103D7F57F347}"/>
              </a:ext>
            </a:extLst>
          </p:cNvPr>
          <p:cNvSpPr/>
          <p:nvPr/>
        </p:nvSpPr>
        <p:spPr>
          <a:xfrm>
            <a:off x="1306548" y="505043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Cube 10">
            <a:extLst>
              <a:ext uri="{FF2B5EF4-FFF2-40B4-BE49-F238E27FC236}">
                <a16:creationId xmlns:a16="http://schemas.microsoft.com/office/drawing/2014/main" id="{A25E78F1-034D-8474-746D-CA6F05719A30}"/>
              </a:ext>
            </a:extLst>
          </p:cNvPr>
          <p:cNvSpPr/>
          <p:nvPr/>
        </p:nvSpPr>
        <p:spPr>
          <a:xfrm>
            <a:off x="1623540" y="505043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19F1F6A-AA36-4527-64C7-1DE853585373}"/>
              </a:ext>
            </a:extLst>
          </p:cNvPr>
          <p:cNvSpPr txBox="1"/>
          <p:nvPr/>
        </p:nvSpPr>
        <p:spPr>
          <a:xfrm>
            <a:off x="443084" y="-35243"/>
            <a:ext cx="270818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chemeClr val="accent1">
                    <a:lumMod val="75000"/>
                  </a:schemeClr>
                </a:solidFill>
                <a:latin typeface="Cascadia Code" panose="020B0609020000020004" pitchFamily="49" charset="0"/>
                <a:ea typeface="Kigelia Light" panose="020B0502040204020203" pitchFamily="34" charset="0"/>
                <a:cs typeface="Cascadia Code" panose="020B0609020000020004" pitchFamily="49" charset="0"/>
              </a:rPr>
              <a:t>ReservoirFlow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0F584E9-C76E-1758-45A2-CB91019582F4}"/>
              </a:ext>
            </a:extLst>
          </p:cNvPr>
          <p:cNvSpPr txBox="1"/>
          <p:nvPr/>
        </p:nvSpPr>
        <p:spPr>
          <a:xfrm>
            <a:off x="921278" y="516759"/>
            <a:ext cx="155229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chemeClr val="accent1">
                    <a:lumMod val="75000"/>
                  </a:schemeClr>
                </a:solidFill>
                <a:latin typeface="Cascadia Code" panose="020B0609020000020004" pitchFamily="49" charset="0"/>
                <a:ea typeface="Kigelia Light" panose="020B0502040204020203" pitchFamily="34" charset="0"/>
                <a:cs typeface="Cascadia Code" panose="020B0609020000020004" pitchFamily="49" charset="0"/>
              </a:rPr>
              <a:t>&lt;     &gt;</a:t>
            </a:r>
          </a:p>
        </p:txBody>
      </p:sp>
    </p:spTree>
    <p:extLst>
      <p:ext uri="{BB962C8B-B14F-4D97-AF65-F5344CB8AC3E}">
        <p14:creationId xmlns:p14="http://schemas.microsoft.com/office/powerpoint/2010/main" val="15638113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TrPO/pCmRChTdyOE/snRIFAAAAAAADAAAAAwADAAAAAQADAAEA////////BAAAAAMAEAALlkS75G5010CUhcq2gT6Q/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OTrPO/pCmRChTdyOE/snRIDRGF0YQAbAAAABExpbmtlZFNoYXBlRGF0YQAFAAAAAAACTmFtZQAZAAAATGlua2VkU2hhcGVzRGF0YVByb3BlcnR5ABBWZXJzaW9uAAAAAAAJTGFzdFdyaXRlAHWuR2WKAQAAAAEA/////8YAxgAAAAVfaWQAEAAAAASWRLvkbnTXQJSFyraBPpD/A0RhdGEAUwAAAAhQcmVzZW50YXRpb25TY2FubmVkRm9yTGlua2VkU2hhcGVzAAECTnVtYmVyRm9ybWF0U2VwYXJhdG9yTW9kZQAKAAAAQXV0b21hdGljAAACTmFtZQAkAAAATGlua2VkU2hhcGVQcmVzZW50YXRpb25TZXR0aW5nc0RhdGEAEFZlcnNpb24AAAAAAAlMYXN0V3JpdGUAl65HZ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4</Words>
  <Application>Microsoft Office PowerPoint</Application>
  <PresentationFormat>Custom</PresentationFormat>
  <Paragraphs>3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Cascadia Code</vt:lpstr>
      <vt:lpstr>Office Them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ugrin, Zakariya  SF/HZA-ZC3A</dc:creator>
  <cp:lastModifiedBy>Abugrin, Zakariya  SF/HZA-ZC3A</cp:lastModifiedBy>
  <cp:revision>2</cp:revision>
  <dcterms:created xsi:type="dcterms:W3CDTF">2023-09-05T12:18:30Z</dcterms:created>
  <dcterms:modified xsi:type="dcterms:W3CDTF">2023-09-08T23:42:33Z</dcterms:modified>
</cp:coreProperties>
</file>